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31" d="100"/>
          <a:sy n="131" d="100"/>
        </p:scale>
        <p:origin x="270" y="114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1/07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1/07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01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4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4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FORC046S Bean OPTIMIZATION – Gain of 200 bopd by End  June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98488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Increase production from Forcados Node by carrying out bean optimization for FORC046S with an expected gain of 200 bopd. This is in line with active WRFM / surveillance practice carried out by the Forcados Field Management Team (FMT) in collaboration with Production operation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20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2092881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Identify opportunities for optim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Calibrate well performanc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Validate bean up opport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Share execution sequence with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xecute programme, test well &amp; take wellhead sam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Report g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116955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an avail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imely delivery of proposed bean-up sequ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alidated test resul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dirty="0">
                <a:solidFill>
                  <a:schemeClr val="dk1"/>
                </a:solidFill>
              </a:rPr>
              <a:t>Project</a:t>
            </a:r>
            <a:r>
              <a:rPr lang="en-US" sz="1200" b="1" dirty="0">
                <a:solidFill>
                  <a:schemeClr val="dk1"/>
                </a:solidFill>
              </a:rPr>
              <a:t> members: </a:t>
            </a:r>
            <a:r>
              <a:rPr lang="en-US" sz="1200" dirty="0">
                <a:solidFill>
                  <a:schemeClr val="dk1"/>
                </a:solidFill>
              </a:rPr>
              <a:t>Olagunju, Aliyu; Arochukwu, Elias; Okoro, Felix.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178021"/>
              </p:ext>
            </p:extLst>
          </p:nvPr>
        </p:nvGraphicFramePr>
        <p:xfrm>
          <a:off x="4220309" y="5274104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</a:t>
                      </a:r>
                      <a:r>
                        <a:rPr lang="en-US" sz="13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ln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2425</TotalTime>
  <Words>161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Times New Roman</vt:lpstr>
      <vt:lpstr>Futura Bold</vt:lpstr>
      <vt:lpstr>Calibri</vt:lpstr>
      <vt:lpstr>Futura Medium</vt:lpstr>
      <vt:lpstr>Arial</vt:lpstr>
      <vt:lpstr>Wingdings</vt:lpstr>
      <vt:lpstr>Shell layouts with footer</vt:lpstr>
      <vt:lpstr>think-cell Slide</vt:lpstr>
      <vt:lpstr>Title: FORC046S Bean OPTIMIZATION – Gain of 200 bopd by End  June 2019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Okoro, Felix O SPDC-UPO/G/UVW</cp:lastModifiedBy>
  <cp:revision>724</cp:revision>
  <cp:lastPrinted>2018-07-13T16:09:42Z</cp:lastPrinted>
  <dcterms:created xsi:type="dcterms:W3CDTF">2016-07-14T14:43:13Z</dcterms:created>
  <dcterms:modified xsi:type="dcterms:W3CDTF">2019-07-01T16:0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